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  <p:sldMasterId id="2147483675" r:id="rId3"/>
    <p:sldMasterId id="2147483680" r:id="rId4"/>
  </p:sldMasterIdLst>
  <p:notesMasterIdLst>
    <p:notesMasterId r:id="rId6"/>
  </p:notesMasterIdLst>
  <p:handoutMasterIdLst>
    <p:handoutMasterId r:id="rId7"/>
  </p:handoutMasterIdLst>
  <p:sldIdLst>
    <p:sldId id="464" r:id="rId5"/>
  </p:sldIdLst>
  <p:sldSz cx="8961438" cy="6721475"/>
  <p:notesSz cx="7315200" cy="96012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5CC"/>
    <a:srgbClr val="055CB9"/>
    <a:srgbClr val="0563BB"/>
    <a:srgbClr val="0354B0"/>
    <a:srgbClr val="0049A6"/>
    <a:srgbClr val="0457B5"/>
    <a:srgbClr val="10A2ED"/>
    <a:srgbClr val="087CE3"/>
    <a:srgbClr val="035CB8"/>
    <a:srgbClr val="066B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700" autoAdjust="0"/>
    <p:restoredTop sz="95976" autoAdjust="0"/>
  </p:normalViewPr>
  <p:slideViewPr>
    <p:cSldViewPr snapToGrid="0">
      <p:cViewPr varScale="1">
        <p:scale>
          <a:sx n="127" d="100"/>
          <a:sy n="127" d="100"/>
        </p:scale>
        <p:origin x="1728" y="176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png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5.xml"/><Relationship Id="rId4" Type="http://schemas.openxmlformats.org/officeDocument/2006/relationships/image" Target="../media/image10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7.jp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pic>
        <p:nvPicPr>
          <p:cNvPr id="10" name="CustomTitle"/>
          <p:cNvPicPr>
            <a:picLocks noChangeAspect="1"/>
          </p:cNvPicPr>
          <p:nvPr userDrawn="1"/>
        </p:nvPicPr>
        <p:blipFill>
          <a:blip r:embed="rId5"/>
          <a:srcRect l="3" t="17" r="3" b="17"/>
          <a:stretch>
            <a:fillRect/>
          </a:stretch>
        </p:blipFill>
        <p:spPr>
          <a:xfrm>
            <a:off x="0" y="0"/>
            <a:ext cx="8961439" cy="6721478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6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2/6/2019 1:40 PM Easter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8031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1:40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26609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 24.12.2016 10:21 W. Europe Standard Time</a:t>
            </a:r>
          </a:p>
        </p:txBody>
      </p:sp>
      <p:sp>
        <p:nvSpPr>
          <p:cNvPr id="9" name="Title Elements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Title Elements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Title Elements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153852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22753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53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022923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950" y="357188"/>
            <a:ext cx="7729538" cy="13001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17279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923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61679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4" name="SlideLogoSeparator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923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8773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90761" y="230188"/>
            <a:ext cx="8554943" cy="3077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060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Working Draft" hidden="1"/>
          <p:cNvSpPr txBox="1">
            <a:spLocks noChangeArrowheads="1"/>
          </p:cNvSpPr>
          <p:nvPr userDrawn="1"/>
        </p:nvSpPr>
        <p:spPr bwMode="auto">
          <a:xfrm rot="5400000">
            <a:off x="7939405" y="1940592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tx2"/>
                </a:solidFill>
                <a:latin typeface="+mn-lt"/>
                <a:ea typeface="+mn-ea"/>
              </a:rPr>
              <a:t>Last Modified 2/6/2019 1:40 PM Eastern Standard Time</a:t>
            </a:r>
            <a:endParaRPr lang="en-US" baseline="0" noProof="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 userDrawn="1"/>
        </p:nvSpPr>
        <p:spPr bwMode="auto">
          <a:xfrm rot="5400000">
            <a:off x="8768958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solidFill>
                  <a:schemeClr val="tx2"/>
                </a:solidFill>
                <a:latin typeface="+mn-lt"/>
                <a:ea typeface="+mn-ea"/>
              </a:rPr>
              <a:t>Printed</a:t>
            </a:r>
            <a:endParaRPr lang="en-US" baseline="0" noProof="0" dirty="0">
              <a:solidFill>
                <a:schemeClr val="tx2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668028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16267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47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40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8961506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084692" y="-1"/>
            <a:ext cx="6876746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523294" y="36515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/>
            </a:pPr>
            <a:endParaRPr lang="en-US" sz="800" dirty="0">
              <a:solidFill>
                <a:srgbClr val="482A06"/>
              </a:solidFill>
              <a:latin typeface="Arial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079132" y="6254081"/>
            <a:ext cx="6618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/>
            </a:pPr>
            <a:r>
              <a:rPr lang="en-US" sz="600" b="1" dirty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079132" y="6377192"/>
            <a:ext cx="280470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/>
            </a:pPr>
            <a:r>
              <a:rPr lang="en-US" sz="600">
                <a:solidFill>
                  <a:srgbClr val="FFFFFF"/>
                </a:solidFill>
                <a:latin typeface="Arial"/>
              </a:rPr>
              <a:t>Last Modified 2/6/2019 1:40 PM Eastern Standard Time</a:t>
            </a:r>
            <a:endParaRPr lang="en-US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079132" y="6500304"/>
            <a:ext cx="266005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/>
            </a:pPr>
            <a:r>
              <a:rPr lang="en-US" sz="600">
                <a:solidFill>
                  <a:srgbClr val="FFFFFF"/>
                </a:solidFill>
                <a:latin typeface="Arial"/>
              </a:rPr>
              <a:t>Printed 21.07.2017 14:47 W. Europe Standard Time</a:t>
            </a:r>
            <a:endParaRPr lang="en-US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2268266" y="1434421"/>
            <a:ext cx="6231663" cy="369332"/>
          </a:xfrm>
          <a:prstGeom prst="rect">
            <a:avLst/>
          </a:prstGeom>
        </p:spPr>
        <p:txBody>
          <a:bodyPr/>
          <a:lstStyle>
            <a:lvl1pPr>
              <a:defRPr sz="24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16158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5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638005"/>
            <a:ext cx="6231663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/>
            </a:pPr>
            <a:r>
              <a:rPr lang="en-US" sz="1050"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2274931" y="187976"/>
            <a:ext cx="163266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085976" y="6254081"/>
            <a:ext cx="3840217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903" eaLnBrk="0" hangingPunct="0"/>
            <a:r>
              <a:rPr lang="en-US" sz="6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903" eaLnBrk="0" hangingPunct="0"/>
            <a:r>
              <a:rPr lang="en-US" sz="6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8335710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501134"/>
              </p:ext>
            </p:extLst>
          </p:nvPr>
        </p:nvGraphicFramePr>
        <p:xfrm>
          <a:off x="1191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4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8564563" y="6523662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600" smtClean="0">
                <a:solidFill>
                  <a:srgbClr val="808080"/>
                </a:solidFill>
              </a:rPr>
              <a:pPr/>
              <a:t>‹#›</a:t>
            </a:fld>
            <a:endParaRPr lang="en-US" sz="600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7704093" y="6523662"/>
            <a:ext cx="75982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95"/>
            <a:r>
              <a:rPr lang="en-US" sz="600" dirty="0">
                <a:solidFill>
                  <a:srgbClr val="808080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833909" y="50802"/>
            <a:ext cx="905231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95"/>
            <a:endParaRPr lang="en-US" sz="45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157356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8564563" y="6523662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600" smtClean="0">
                <a:solidFill>
                  <a:srgbClr val="FFFFFF"/>
                </a:solidFill>
              </a:rPr>
              <a:pPr/>
              <a:t>‹#›</a:t>
            </a:fld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7704093" y="6523662"/>
            <a:ext cx="75982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95"/>
            <a:r>
              <a:rPr lang="en-US" sz="6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833909" y="50802"/>
            <a:ext cx="905231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95"/>
            <a:endParaRPr lang="en-US" sz="45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444533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38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4.vml"/><Relationship Id="rId15" Type="http://schemas.openxmlformats.org/officeDocument/2006/relationships/tags" Target="../tags/tag32.xml"/><Relationship Id="rId23" Type="http://schemas.openxmlformats.org/officeDocument/2006/relationships/oleObject" Target="../embeddings/oleObject4.bin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heme" Target="../theme/theme2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57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6.vml"/><Relationship Id="rId11" Type="http://schemas.openxmlformats.org/officeDocument/2006/relationships/tags" Target="../tags/tag47.xml"/><Relationship Id="rId24" Type="http://schemas.openxmlformats.org/officeDocument/2006/relationships/oleObject" Target="../embeddings/oleObject6.bin"/><Relationship Id="rId5" Type="http://schemas.openxmlformats.org/officeDocument/2006/relationships/theme" Target="../theme/theme3.xml"/><Relationship Id="rId15" Type="http://schemas.openxmlformats.org/officeDocument/2006/relationships/tags" Target="../tags/tag51.xml"/><Relationship Id="rId23" Type="http://schemas.openxmlformats.org/officeDocument/2006/relationships/tags" Target="../tags/tag59.xml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tags" Target="../tags/tag5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oleObject" Target="../embeddings/oleObject9.bin"/><Relationship Id="rId5" Type="http://schemas.openxmlformats.org/officeDocument/2006/relationships/slideLayout" Target="../slideLayouts/slideLayout15.xml"/><Relationship Id="rId10" Type="http://schemas.openxmlformats.org/officeDocument/2006/relationships/tags" Target="../tags/tag64.xml"/><Relationship Id="rId4" Type="http://schemas.openxmlformats.org/officeDocument/2006/relationships/slideLayout" Target="../slideLayouts/slideLayout14.xml"/><Relationship Id="rId9" Type="http://schemas.openxmlformats.org/officeDocument/2006/relationships/vmlDrawing" Target="../drawings/vmlDrawing9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00205320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8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7939405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2/6/2019 1:40 PM Easter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19063" y="6305945"/>
            <a:ext cx="86185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800" baseline="0" dirty="0">
                <a:solidFill>
                  <a:srgbClr val="808080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baseline="0" dirty="0">
                <a:solidFill>
                  <a:srgbClr val="808080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7915092" y="279400"/>
            <a:ext cx="763755" cy="997467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7607284" y="279400"/>
            <a:ext cx="1071563" cy="730251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7848417" y="250825"/>
            <a:ext cx="830430" cy="1306516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2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 hidden="1"/>
          <p:cNvSpPr txBox="1">
            <a:spLocks noChangeArrowheads="1"/>
          </p:cNvSpPr>
          <p:nvPr userDrawn="1"/>
        </p:nvSpPr>
        <p:spPr bwMode="auto">
          <a:xfrm rot="5400000">
            <a:off x="7939405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2/6/2019 1:40 PM Easter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9" name="4. Footnote" hidden="1"/>
          <p:cNvSpPr txBox="1">
            <a:spLocks noChangeArrowheads="1"/>
          </p:cNvSpPr>
          <p:nvPr/>
        </p:nvSpPr>
        <p:spPr bwMode="auto">
          <a:xfrm>
            <a:off x="119063" y="6305945"/>
            <a:ext cx="854868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800" baseline="0" dirty="0">
                <a:solidFill>
                  <a:srgbClr val="808080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30" name="5. Source" hidden="1"/>
          <p:cNvSpPr>
            <a:spLocks noChangeArrowheads="1"/>
          </p:cNvSpPr>
          <p:nvPr/>
        </p:nvSpPr>
        <p:spPr bwMode="auto">
          <a:xfrm>
            <a:off x="119063" y="6507558"/>
            <a:ext cx="6862762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baseline="0" dirty="0">
                <a:solidFill>
                  <a:srgbClr val="808080"/>
                </a:solidFill>
                <a:latin typeface="+mn-lt"/>
                <a:ea typeface="+mn-ea"/>
              </a:rPr>
              <a:t>SOURCE : Source</a:t>
            </a:r>
          </a:p>
        </p:txBody>
      </p: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38" name="LegendBoxes" hidden="1"/>
          <p:cNvGrpSpPr/>
          <p:nvPr userDrawn="1"/>
        </p:nvGrpSpPr>
        <p:grpSpPr bwMode="gray">
          <a:xfrm>
            <a:off x="7917131" y="279400"/>
            <a:ext cx="763755" cy="997467"/>
            <a:chOff x="7835905" y="279400"/>
            <a:chExt cx="763755" cy="997467"/>
          </a:xfrm>
        </p:grpSpPr>
        <p:sp>
          <p:nvSpPr>
            <p:cNvPr id="39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0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1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2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7" name="LegendLines" hidden="1"/>
          <p:cNvGrpSpPr/>
          <p:nvPr userDrawn="1"/>
        </p:nvGrpSpPr>
        <p:grpSpPr bwMode="gray">
          <a:xfrm>
            <a:off x="7609323" y="279400"/>
            <a:ext cx="1071563" cy="730251"/>
            <a:chOff x="7540629" y="279400"/>
            <a:chExt cx="1071563" cy="730251"/>
          </a:xfrm>
        </p:grpSpPr>
        <p:sp>
          <p:nvSpPr>
            <p:cNvPr id="48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9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0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54" name="LegendMoons" hidden="1"/>
          <p:cNvGrpSpPr/>
          <p:nvPr userDrawn="1"/>
        </p:nvGrpSpPr>
        <p:grpSpPr bwMode="gray">
          <a:xfrm>
            <a:off x="7850456" y="250825"/>
            <a:ext cx="830430" cy="1306516"/>
            <a:chOff x="7769225" y="250825"/>
            <a:chExt cx="830430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9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6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2949083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9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7833909" y="50802"/>
            <a:ext cx="905231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95"/>
            <a:endParaRPr lang="en-US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179855" y="1952134"/>
            <a:ext cx="1423467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/>
            </a:pPr>
            <a:r>
              <a:rPr lang="en-US" sz="450">
                <a:solidFill>
                  <a:srgbClr val="808080"/>
                </a:solidFill>
                <a:latin typeface="Arial"/>
              </a:rPr>
              <a:t>Last Modified 2/6/2019 1:40 PM Eastern Standard Time</a:t>
            </a:r>
            <a:endParaRPr lang="en-US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226342" y="4125960"/>
            <a:ext cx="1330492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/>
            </a:pPr>
            <a:r>
              <a:rPr lang="en-US" sz="450">
                <a:solidFill>
                  <a:srgbClr val="808080"/>
                </a:solidFill>
                <a:latin typeface="Arial"/>
              </a:rPr>
              <a:t>Printed 21.07.2017 14:47 W. Europe Standard Time</a:t>
            </a:r>
            <a:endParaRPr lang="en-US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4" y="230190"/>
            <a:ext cx="861853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19064" y="75765"/>
            <a:ext cx="3686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19064" y="554865"/>
            <a:ext cx="861853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00">
                <a:solidFill>
                  <a:srgbClr val="808080"/>
                </a:solidFill>
                <a:latin typeface="Arial"/>
              </a:rPr>
              <a:t>Subtitle</a:t>
            </a:r>
            <a:endParaRPr lang="en-US" sz="1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19063" y="6337696"/>
            <a:ext cx="854868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4294" indent="-64294">
              <a:defRPr/>
            </a:pPr>
            <a:r>
              <a:rPr lang="en-US" sz="600" dirty="0">
                <a:solidFill>
                  <a:srgbClr val="80808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19063" y="6539309"/>
            <a:ext cx="74644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70285" indent="-370285" defTabSz="895395"/>
            <a:r>
              <a:rPr lang="en-US" sz="600" dirty="0">
                <a:solidFill>
                  <a:srgbClr val="80808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52563" y="1378404"/>
            <a:ext cx="4264025" cy="387350"/>
            <a:chOff x="915" y="786"/>
            <a:chExt cx="2686" cy="244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86"/>
              <a:ext cx="2686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8376468" y="285751"/>
            <a:ext cx="361126" cy="120033"/>
            <a:chOff x="8379650" y="285750"/>
            <a:chExt cx="361126" cy="120033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650" y="285750"/>
              <a:ext cx="361126" cy="1200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95">
                <a:buClr>
                  <a:srgbClr val="002960"/>
                </a:buClr>
              </a:pPr>
              <a:r>
                <a:rPr lang="en-US" sz="600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650" y="285750"/>
              <a:ext cx="0" cy="12003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650" y="405783"/>
              <a:ext cx="36112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8164809" y="279401"/>
            <a:ext cx="575213" cy="984251"/>
            <a:chOff x="7835905" y="279400"/>
            <a:chExt cx="766984" cy="98425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2984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2984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2984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2984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7933964" y="279400"/>
            <a:ext cx="806184" cy="684600"/>
            <a:chOff x="7540629" y="279400"/>
            <a:chExt cx="1074959" cy="68460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2984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2984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2984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8114805" y="250825"/>
            <a:ext cx="625217" cy="1306516"/>
            <a:chOff x="7769225" y="250825"/>
            <a:chExt cx="833659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2984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2984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2984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2984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2984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8822678" y="6507559"/>
            <a:ext cx="34288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089375" y="1951380"/>
            <a:ext cx="3226451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925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hf hdr="0" ftr="0" dt="0"/>
  <p:txStyles>
    <p:titleStyle>
      <a:lvl1pPr algn="l" defTabSz="895395" rtl="0" eaLnBrk="1" fontAlgn="base" hangingPunct="1">
        <a:spcBef>
          <a:spcPct val="0"/>
        </a:spcBef>
        <a:spcAft>
          <a:spcPct val="0"/>
        </a:spcAft>
        <a:tabLst>
          <a:tab pos="269888" algn="l"/>
        </a:tabLst>
        <a:defRPr sz="15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23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46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68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92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45800" indent="-14310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334800" indent="-18630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461700" indent="-11610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561600" indent="-9720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8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2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3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Slide Elements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Slide Elements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68450"/>
            <a:ext cx="8066088" cy="132343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1417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5" Type="http://schemas.openxmlformats.org/officeDocument/2006/relationships/tags" Target="../tags/tag74.xml"/><Relationship Id="rId4" Type="http://schemas.openxmlformats.org/officeDocument/2006/relationships/tags" Target="../tags/tag7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Pricing redesign at a </a:t>
            </a:r>
            <a:r>
              <a:rPr lang="pl-PL" altLang="en-US" dirty="0"/>
              <a:t>P</a:t>
            </a:r>
            <a:r>
              <a:rPr lang="en-US" altLang="en-US" dirty="0" err="1"/>
              <a:t>rivate</a:t>
            </a:r>
            <a:r>
              <a:rPr lang="en-US" altLang="en-US" dirty="0"/>
              <a:t> bank</a:t>
            </a:r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7328194-2C86-4CC9-8254-3E072A339B9A}"/>
              </a:ext>
            </a:extLst>
          </p:cNvPr>
          <p:cNvGrpSpPr/>
          <p:nvPr/>
        </p:nvGrpSpPr>
        <p:grpSpPr>
          <a:xfrm>
            <a:off x="5701426" y="964784"/>
            <a:ext cx="3071121" cy="5415920"/>
            <a:chOff x="5701426" y="964784"/>
            <a:chExt cx="3071121" cy="5415920"/>
          </a:xfrm>
        </p:grpSpPr>
        <p:sp>
          <p:nvSpPr>
            <p:cNvPr id="18" name="Rectangle 4"/>
            <p:cNvSpPr txBox="1"/>
            <p:nvPr>
              <p:custDataLst>
                <p:tags r:id="rId5"/>
              </p:custDataLst>
            </p:nvPr>
          </p:nvSpPr>
          <p:spPr>
            <a:xfrm>
              <a:off x="5701426" y="964784"/>
              <a:ext cx="3071121" cy="492521"/>
            </a:xfrm>
            <a:prstGeom prst="chevron">
              <a:avLst>
                <a:gd name="adj" fmla="val 18199"/>
              </a:avLst>
            </a:prstGeom>
            <a:solidFill>
              <a:schemeClr val="accent3"/>
            </a:solidFill>
            <a:ln/>
            <a:ex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182880" tIns="182880" rIns="182880" bIns="18288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25000"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</a:rPr>
                <a:t>Impact</a:t>
              </a:r>
            </a:p>
          </p:txBody>
        </p:sp>
        <p:sp>
          <p:nvSpPr>
            <p:cNvPr id="21" name="Rectangle 18"/>
            <p:cNvSpPr txBox="1"/>
            <p:nvPr>
              <p:custDataLst>
                <p:tags r:id="rId6"/>
              </p:custDataLst>
            </p:nvPr>
          </p:nvSpPr>
          <p:spPr>
            <a:xfrm>
              <a:off x="5749735" y="1533795"/>
              <a:ext cx="2974502" cy="4846909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93675" marR="0" lvl="1" indent="-192088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3" name="Rectangle 22"/>
            <p:cNvSpPr txBox="1"/>
            <p:nvPr/>
          </p:nvSpPr>
          <p:spPr>
            <a:xfrm>
              <a:off x="5812668" y="1579390"/>
              <a:ext cx="2848636" cy="421038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defRPr>
              </a:lvl1pPr>
              <a:lvl2pPr marL="193675" lvl="1" indent="-192088" defTabSz="895350" eaLnBrk="1" hangingPunct="1">
                <a:buClr>
                  <a:schemeClr val="accent5"/>
                </a:buClr>
                <a:buSzPct val="125000"/>
                <a:buFont typeface="Arial" charset="0"/>
                <a:buChar char="▪"/>
                <a:defRPr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defRPr>
              </a:lvl2pPr>
              <a:lvl3pPr marL="457200" lvl="2" indent="-261938" defTabSz="895350" eaLnBrk="1" hangingPunct="1">
                <a:buClr>
                  <a:schemeClr val="accent5"/>
                </a:buClr>
                <a:buSzPct val="120000"/>
                <a:buFont typeface="Arial" charset="0"/>
                <a:buChar char="–"/>
                <a:defRPr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defRPr>
              </a:lvl3pPr>
              <a:lvl4pPr marL="614363" lvl="3" indent="-155575" defTabSz="895350" eaLnBrk="1" hangingPunct="1">
                <a:buClr>
                  <a:schemeClr val="accent5"/>
                </a:buClr>
                <a:buSzPct val="120000"/>
                <a:buFont typeface="Arial" charset="0"/>
                <a:buChar char="▫"/>
                <a:defRPr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defRPr>
              </a:lvl4pPr>
              <a:lvl5pPr marL="749808" lvl="4" indent="-130175" defTabSz="895350" eaLnBrk="1" hangingPunct="1">
                <a:buClr>
                  <a:schemeClr val="accent5"/>
                </a:buClr>
                <a:buSzPct val="89000"/>
                <a:buFont typeface="Arial" charset="0"/>
                <a:buChar char="-"/>
                <a:defRPr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eaLnBrk="0" hangingPunct="0">
                <a:spcAft>
                  <a:spcPct val="300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en-US" altLang="en-US" sz="1200" dirty="0"/>
                <a:t>Estimated </a:t>
              </a:r>
              <a:r>
                <a:rPr lang="en-US" altLang="en-US" sz="1200" b="1" dirty="0">
                  <a:solidFill>
                    <a:schemeClr val="accent3"/>
                  </a:solidFill>
                </a:rPr>
                <a:t>annual revenue impact of +3.5 Mn local currency, or +15% </a:t>
              </a:r>
              <a:r>
                <a:rPr lang="en-US" altLang="en-US" sz="1200" dirty="0"/>
                <a:t>of revenue in scope</a:t>
              </a:r>
            </a:p>
            <a:p>
              <a:pPr lvl="1" eaLnBrk="0" hangingPunct="0">
                <a:spcAft>
                  <a:spcPct val="300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en-US" altLang="en-US" sz="1200" dirty="0"/>
                <a:t>Defined 12-month </a:t>
              </a:r>
              <a:r>
                <a:rPr lang="en-US" altLang="en-US" sz="1200" b="1" dirty="0">
                  <a:solidFill>
                    <a:schemeClr val="accent3"/>
                  </a:solidFill>
                </a:rPr>
                <a:t>roll-out plan </a:t>
              </a:r>
              <a:r>
                <a:rPr lang="en-US" altLang="en-US" sz="1200" dirty="0"/>
                <a:t>with 3 phases, combining </a:t>
              </a:r>
              <a:r>
                <a:rPr lang="en-US" altLang="en-US" sz="1200" b="1" dirty="0">
                  <a:solidFill>
                    <a:schemeClr val="accent3"/>
                  </a:solidFill>
                </a:rPr>
                <a:t>repricing</a:t>
              </a:r>
              <a:r>
                <a:rPr lang="en-US" altLang="en-US" sz="1200" dirty="0"/>
                <a:t> and complete </a:t>
              </a:r>
              <a:r>
                <a:rPr lang="en-US" altLang="en-US" sz="1200" b="1" dirty="0">
                  <a:solidFill>
                    <a:schemeClr val="accent3"/>
                  </a:solidFill>
                </a:rPr>
                <a:t>offer overhaul</a:t>
              </a:r>
              <a:r>
                <a:rPr lang="en-US" altLang="en-US" sz="1200" dirty="0"/>
                <a:t>: </a:t>
              </a:r>
            </a:p>
            <a:p>
              <a:pPr lvl="2" eaLnBrk="0" hangingPunct="0">
                <a:spcAft>
                  <a:spcPct val="30000"/>
                </a:spcAft>
                <a:buClr>
                  <a:schemeClr val="tx2"/>
                </a:buClr>
                <a:buFont typeface="Arial" panose="020B0604020202020204" pitchFamily="34" charset="0"/>
                <a:buChar char="─"/>
              </a:pPr>
              <a:r>
                <a:rPr lang="en-US" altLang="en-US" sz="1200" dirty="0"/>
                <a:t>3-month preparation phase, including private bankers’ training</a:t>
              </a:r>
            </a:p>
            <a:p>
              <a:pPr lvl="2" eaLnBrk="0" hangingPunct="0">
                <a:spcAft>
                  <a:spcPct val="30000"/>
                </a:spcAft>
                <a:buClr>
                  <a:schemeClr val="tx2"/>
                </a:buClr>
                <a:buFont typeface="Arial" panose="020B0604020202020204" pitchFamily="34" charset="0"/>
                <a:buChar char="─"/>
              </a:pPr>
              <a:r>
                <a:rPr lang="en-US" altLang="en-US" sz="1200" dirty="0"/>
                <a:t>3-month repricing effort for clients in lowest wealth-band, representing ~33% of expected impact</a:t>
              </a:r>
            </a:p>
            <a:p>
              <a:pPr lvl="2" eaLnBrk="0" hangingPunct="0">
                <a:spcAft>
                  <a:spcPct val="30000"/>
                </a:spcAft>
                <a:buClr>
                  <a:schemeClr val="tx2"/>
                </a:buClr>
                <a:buFont typeface="Arial" panose="020B0604020202020204" pitchFamily="34" charset="0"/>
                <a:buChar char="─"/>
              </a:pPr>
              <a:r>
                <a:rPr lang="en-US" altLang="en-US" sz="1200" dirty="0"/>
                <a:t>6-months renegotiation and repricing period for all other clients</a:t>
              </a:r>
            </a:p>
            <a:p>
              <a:pPr lvl="1" eaLnBrk="0" hangingPunct="0">
                <a:spcAft>
                  <a:spcPct val="300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en-US" altLang="en-US" sz="1200" dirty="0"/>
                <a:t>Prepared </a:t>
              </a:r>
              <a:r>
                <a:rPr lang="en-US" altLang="en-US" sz="1200" b="1" dirty="0"/>
                <a:t>communication and training material</a:t>
              </a:r>
              <a:r>
                <a:rPr lang="en-US" altLang="en-US" sz="1200" dirty="0"/>
                <a:t> to drive change</a:t>
              </a:r>
            </a:p>
            <a:p>
              <a:pPr lvl="1" eaLnBrk="0" hangingPunct="0">
                <a:spcAft>
                  <a:spcPct val="300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en-US" altLang="en-US" sz="1200" dirty="0"/>
                <a:t>Created a </a:t>
              </a:r>
              <a:r>
                <a:rPr lang="en-US" altLang="en-US" sz="1200" b="1" dirty="0">
                  <a:solidFill>
                    <a:schemeClr val="accent3"/>
                  </a:solidFill>
                </a:rPr>
                <a:t>simulation tool to support roll-out</a:t>
              </a:r>
              <a:r>
                <a:rPr lang="en-US" altLang="en-US" sz="1200" dirty="0"/>
                <a:t>, allowing private bankers to simulate new fees and rebates for all clients (old and new) as well as evolutions in their asset allocation across mandates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239FBF5D-E08E-42F9-AEFA-BBF7605A719A}"/>
              </a:ext>
            </a:extLst>
          </p:cNvPr>
          <p:cNvGrpSpPr/>
          <p:nvPr/>
        </p:nvGrpSpPr>
        <p:grpSpPr>
          <a:xfrm>
            <a:off x="2398681" y="964784"/>
            <a:ext cx="3229171" cy="5415920"/>
            <a:chOff x="2390550" y="964784"/>
            <a:chExt cx="3229171" cy="5415920"/>
          </a:xfrm>
        </p:grpSpPr>
        <p:sp>
          <p:nvSpPr>
            <p:cNvPr id="17" name="Rectangle 4"/>
            <p:cNvSpPr txBox="1"/>
            <p:nvPr>
              <p:custDataLst>
                <p:tags r:id="rId3"/>
              </p:custDataLst>
            </p:nvPr>
          </p:nvSpPr>
          <p:spPr>
            <a:xfrm>
              <a:off x="2390550" y="964784"/>
              <a:ext cx="3229171" cy="497372"/>
            </a:xfrm>
            <a:prstGeom prst="chevron">
              <a:avLst>
                <a:gd name="adj" fmla="val 18199"/>
              </a:avLst>
            </a:prstGeom>
            <a:solidFill>
              <a:schemeClr val="accent3"/>
            </a:solidFill>
            <a:ln/>
            <a:ex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182880" tIns="182880" rIns="182880" bIns="18288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25000"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</a:rPr>
                <a:t>What McKinsey did</a:t>
              </a:r>
            </a:p>
          </p:txBody>
        </p:sp>
        <p:sp>
          <p:nvSpPr>
            <p:cNvPr id="20" name="Rectangle 18"/>
            <p:cNvSpPr txBox="1"/>
            <p:nvPr>
              <p:custDataLst>
                <p:tags r:id="rId4"/>
              </p:custDataLst>
            </p:nvPr>
          </p:nvSpPr>
          <p:spPr>
            <a:xfrm>
              <a:off x="2441347" y="1533795"/>
              <a:ext cx="3127577" cy="4846909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93675" marR="0" lvl="1" indent="-192088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" name="Rectangle 22">
              <a:extLst>
                <a:ext uri="{FF2B5EF4-FFF2-40B4-BE49-F238E27FC236}">
                  <a16:creationId xmlns:a16="http://schemas.microsoft.com/office/drawing/2014/main" id="{45541CC6-7CA5-4B8A-B082-EF69EF81C1C3}"/>
                </a:ext>
              </a:extLst>
            </p:cNvPr>
            <p:cNvSpPr txBox="1"/>
            <p:nvPr/>
          </p:nvSpPr>
          <p:spPr>
            <a:xfrm>
              <a:off x="2521182" y="1579390"/>
              <a:ext cx="2967907" cy="432118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defRPr>
              </a:lvl1pPr>
              <a:lvl2pPr marL="193675" lvl="1" indent="-192088" defTabSz="895350" eaLnBrk="1" hangingPunct="1">
                <a:buClr>
                  <a:schemeClr val="accent5"/>
                </a:buClr>
                <a:buSzPct val="125000"/>
                <a:buFont typeface="Arial" charset="0"/>
                <a:buChar char="▪"/>
                <a:defRPr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defRPr>
              </a:lvl2pPr>
              <a:lvl3pPr marL="457200" lvl="2" indent="-261938" defTabSz="895350" eaLnBrk="1" hangingPunct="1">
                <a:buClr>
                  <a:schemeClr val="accent5"/>
                </a:buClr>
                <a:buSzPct val="120000"/>
                <a:buFont typeface="Arial" charset="0"/>
                <a:buChar char="–"/>
                <a:defRPr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defRPr>
              </a:lvl3pPr>
              <a:lvl4pPr marL="614363" lvl="3" indent="-155575" defTabSz="895350" eaLnBrk="1" hangingPunct="1">
                <a:buClr>
                  <a:schemeClr val="accent5"/>
                </a:buClr>
                <a:buSzPct val="120000"/>
                <a:buFont typeface="Arial" charset="0"/>
                <a:buChar char="▫"/>
                <a:defRPr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defRPr>
              </a:lvl4pPr>
              <a:lvl5pPr marL="749808" lvl="4" indent="-130175" defTabSz="895350" eaLnBrk="1" hangingPunct="1">
                <a:buClr>
                  <a:schemeClr val="accent5"/>
                </a:buClr>
                <a:buSzPct val="89000"/>
                <a:buFont typeface="Arial" charset="0"/>
                <a:buChar char="-"/>
                <a:defRPr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eaLnBrk="0" hangingPunct="0">
                <a:spcAft>
                  <a:spcPct val="300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en-US" altLang="en-US" sz="1200" b="1" dirty="0">
                  <a:solidFill>
                    <a:schemeClr val="accent3"/>
                  </a:solidFill>
                </a:rPr>
                <a:t>Benchmarked </a:t>
              </a:r>
              <a:r>
                <a:rPr lang="en-US" altLang="en-US" sz="1200" b="1" dirty="0" err="1">
                  <a:solidFill>
                    <a:schemeClr val="accent3"/>
                  </a:solidFill>
                </a:rPr>
                <a:t>RoA</a:t>
              </a:r>
              <a:r>
                <a:rPr lang="en-US" altLang="en-US" sz="1200" b="1" dirty="0">
                  <a:solidFill>
                    <a:schemeClr val="accent3"/>
                  </a:solidFill>
                </a:rPr>
                <a:t> </a:t>
              </a:r>
              <a:r>
                <a:rPr lang="en-US" altLang="en-US" sz="1200" dirty="0"/>
                <a:t>(return on assets) vs. market average to show potential for repricing on certain client segments</a:t>
              </a:r>
            </a:p>
            <a:p>
              <a:pPr lvl="1" eaLnBrk="0" hangingPunct="0">
                <a:spcAft>
                  <a:spcPct val="300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en-US" altLang="en-US" sz="1200" dirty="0"/>
                <a:t>Provided </a:t>
              </a:r>
              <a:r>
                <a:rPr lang="en-US" altLang="en-US" sz="1200" b="1" dirty="0">
                  <a:solidFill>
                    <a:schemeClr val="accent3"/>
                  </a:solidFill>
                </a:rPr>
                <a:t>transparency on current rebates practices</a:t>
              </a:r>
              <a:r>
                <a:rPr lang="en-US" altLang="en-US" sz="1200" dirty="0"/>
                <a:t>, overall and by client wealth band</a:t>
              </a:r>
            </a:p>
            <a:p>
              <a:pPr lvl="1" eaLnBrk="0" hangingPunct="0">
                <a:spcAft>
                  <a:spcPct val="300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en-US" altLang="en-US" sz="1200" dirty="0"/>
                <a:t>Ran series of workshop with 10 private bankers to </a:t>
              </a:r>
              <a:r>
                <a:rPr lang="en-US" altLang="en-US" sz="1200" b="1" dirty="0">
                  <a:solidFill>
                    <a:schemeClr val="accent3"/>
                  </a:solidFill>
                </a:rPr>
                <a:t>define new standard pricing </a:t>
              </a:r>
              <a:r>
                <a:rPr lang="en-US" altLang="en-US" sz="1200" dirty="0"/>
                <a:t>(including new “all-in” pricing schemes) for main investment products, based on a comprehensive benchmark of Monaco private banks’ pricelists (10+ banks in scope)</a:t>
              </a:r>
            </a:p>
            <a:p>
              <a:pPr lvl="2" eaLnBrk="0" hangingPunct="0">
                <a:spcAft>
                  <a:spcPct val="30000"/>
                </a:spcAft>
                <a:buClr>
                  <a:schemeClr val="tx2"/>
                </a:buClr>
                <a:buFont typeface="Arial" panose="020B0604020202020204" pitchFamily="34" charset="0"/>
                <a:buChar char="─"/>
              </a:pPr>
              <a:r>
                <a:rPr lang="en-US" altLang="en-US" sz="1200" dirty="0"/>
                <a:t>Transaction (brokerage) fees</a:t>
              </a:r>
            </a:p>
            <a:p>
              <a:pPr lvl="2" eaLnBrk="0" hangingPunct="0">
                <a:spcAft>
                  <a:spcPct val="30000"/>
                </a:spcAft>
                <a:buClr>
                  <a:schemeClr val="tx2"/>
                </a:buClr>
                <a:buFont typeface="Arial" panose="020B0604020202020204" pitchFamily="34" charset="0"/>
                <a:buChar char="─"/>
              </a:pPr>
              <a:r>
                <a:rPr lang="en-US" altLang="en-US" sz="1200" dirty="0"/>
                <a:t>Custody fees</a:t>
              </a:r>
            </a:p>
            <a:p>
              <a:pPr lvl="2" eaLnBrk="0" hangingPunct="0">
                <a:spcAft>
                  <a:spcPct val="30000"/>
                </a:spcAft>
                <a:buClr>
                  <a:schemeClr val="tx2"/>
                </a:buClr>
                <a:buFont typeface="Arial" panose="020B0604020202020204" pitchFamily="34" charset="0"/>
                <a:buChar char="─"/>
              </a:pPr>
              <a:r>
                <a:rPr lang="en-US" altLang="en-US" sz="1200" dirty="0"/>
                <a:t>Administrative fees</a:t>
              </a:r>
            </a:p>
            <a:p>
              <a:pPr lvl="2" eaLnBrk="0" hangingPunct="0">
                <a:spcAft>
                  <a:spcPct val="30000"/>
                </a:spcAft>
                <a:buClr>
                  <a:schemeClr val="tx2"/>
                </a:buClr>
                <a:buFont typeface="Arial" panose="020B0604020202020204" pitchFamily="34" charset="0"/>
                <a:buChar char="─"/>
              </a:pPr>
              <a:r>
                <a:rPr lang="en-US" altLang="en-US" sz="1200" dirty="0"/>
                <a:t>Discretionary management fees</a:t>
              </a:r>
            </a:p>
            <a:p>
              <a:pPr lvl="2" eaLnBrk="0" hangingPunct="0">
                <a:spcAft>
                  <a:spcPct val="30000"/>
                </a:spcAft>
                <a:buClr>
                  <a:schemeClr val="tx2"/>
                </a:buClr>
                <a:buFont typeface="Arial" panose="020B0604020202020204" pitchFamily="34" charset="0"/>
                <a:buChar char="─"/>
              </a:pPr>
              <a:r>
                <a:rPr lang="en-US" altLang="en-US" sz="1200" dirty="0"/>
                <a:t>Advisory fees</a:t>
              </a:r>
            </a:p>
            <a:p>
              <a:pPr lvl="1" eaLnBrk="0" hangingPunct="0">
                <a:spcAft>
                  <a:spcPct val="300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en-US" altLang="en-US" sz="1200" dirty="0"/>
                <a:t>Define </a:t>
              </a:r>
              <a:r>
                <a:rPr lang="en-US" altLang="en-US" sz="1200" b="1" dirty="0">
                  <a:solidFill>
                    <a:schemeClr val="accent3"/>
                  </a:solidFill>
                </a:rPr>
                <a:t>new rebates policy </a:t>
              </a:r>
              <a:r>
                <a:rPr lang="en-US" altLang="en-US" sz="1200" dirty="0"/>
                <a:t>and updated  </a:t>
              </a:r>
              <a:r>
                <a:rPr lang="en-US" altLang="en-US" sz="1200" b="1" dirty="0">
                  <a:solidFill>
                    <a:schemeClr val="accent3"/>
                  </a:solidFill>
                </a:rPr>
                <a:t>processes and governance to grant rebates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2E79F7F-483B-4441-8381-06B69AFDF2C2}"/>
              </a:ext>
            </a:extLst>
          </p:cNvPr>
          <p:cNvGrpSpPr/>
          <p:nvPr/>
        </p:nvGrpSpPr>
        <p:grpSpPr>
          <a:xfrm>
            <a:off x="168448" y="964784"/>
            <a:ext cx="2156659" cy="5415920"/>
            <a:chOff x="168448" y="964784"/>
            <a:chExt cx="2156659" cy="5415920"/>
          </a:xfrm>
        </p:grpSpPr>
        <p:sp>
          <p:nvSpPr>
            <p:cNvPr id="16" name="Rectangle 4"/>
            <p:cNvSpPr txBox="1"/>
            <p:nvPr>
              <p:custDataLst>
                <p:tags r:id="rId1"/>
              </p:custDataLst>
            </p:nvPr>
          </p:nvSpPr>
          <p:spPr>
            <a:xfrm>
              <a:off x="168448" y="964784"/>
              <a:ext cx="2156659" cy="494659"/>
            </a:xfrm>
            <a:prstGeom prst="homePlate">
              <a:avLst>
                <a:gd name="adj" fmla="val 18199"/>
              </a:avLst>
            </a:prstGeom>
            <a:solidFill>
              <a:schemeClr val="accent3"/>
            </a:solidFill>
            <a:ln/>
            <a:ex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182880" tIns="182880" rIns="182880" bIns="18288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25000"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</a:rPr>
                <a:t>Engagement situation</a:t>
              </a:r>
            </a:p>
          </p:txBody>
        </p:sp>
        <p:sp>
          <p:nvSpPr>
            <p:cNvPr id="19" name="Rectangle 18"/>
            <p:cNvSpPr txBox="1"/>
            <p:nvPr>
              <p:custDataLst>
                <p:tags r:id="rId2"/>
              </p:custDataLst>
            </p:nvPr>
          </p:nvSpPr>
          <p:spPr>
            <a:xfrm>
              <a:off x="202373" y="1533795"/>
              <a:ext cx="2088809" cy="4846909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7496300-01E5-4AF7-AC7F-C0413A1B1EC0}"/>
                </a:ext>
              </a:extLst>
            </p:cNvPr>
            <p:cNvSpPr txBox="1"/>
            <p:nvPr/>
          </p:nvSpPr>
          <p:spPr>
            <a:xfrm>
              <a:off x="257023" y="1579390"/>
              <a:ext cx="1979508" cy="336092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defRPr>
              </a:lvl1pPr>
              <a:lvl2pPr marL="193675" lvl="1" indent="-192088" defTabSz="895350" eaLnBrk="1" hangingPunct="1">
                <a:buClr>
                  <a:schemeClr val="accent5"/>
                </a:buClr>
                <a:buSzPct val="125000"/>
                <a:buFont typeface="Arial" charset="0"/>
                <a:buChar char="▪"/>
                <a:defRPr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defRPr>
              </a:lvl2pPr>
              <a:lvl3pPr marL="457200" lvl="2" indent="-261938" defTabSz="895350" eaLnBrk="1" hangingPunct="1">
                <a:buClr>
                  <a:schemeClr val="accent5"/>
                </a:buClr>
                <a:buSzPct val="120000"/>
                <a:buFont typeface="Arial" charset="0"/>
                <a:buChar char="–"/>
                <a:defRPr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defRPr>
              </a:lvl3pPr>
              <a:lvl4pPr marL="614363" lvl="3" indent="-155575" defTabSz="895350" eaLnBrk="1" hangingPunct="1">
                <a:buClr>
                  <a:schemeClr val="accent5"/>
                </a:buClr>
                <a:buSzPct val="120000"/>
                <a:buFont typeface="Arial" charset="0"/>
                <a:buChar char="▫"/>
                <a:defRPr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defRPr>
              </a:lvl4pPr>
              <a:lvl5pPr marL="749808" lvl="4" indent="-130175" defTabSz="895350" eaLnBrk="1" hangingPunct="1">
                <a:buClr>
                  <a:schemeClr val="accent5"/>
                </a:buClr>
                <a:buSzPct val="89000"/>
                <a:buFont typeface="Arial" charset="0"/>
                <a:buChar char="-"/>
                <a:defRPr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eaLnBrk="0" hangingPunct="0">
                <a:spcAft>
                  <a:spcPct val="300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en-US" altLang="en-US" sz="1200" b="1" dirty="0">
                  <a:solidFill>
                    <a:schemeClr val="accent3"/>
                  </a:solidFill>
                </a:rPr>
                <a:t>Leading Private Bank in Western-Europe</a:t>
              </a:r>
              <a:r>
                <a:rPr lang="en-US" altLang="en-US" sz="1200" dirty="0"/>
                <a:t>, with </a:t>
              </a:r>
              <a:r>
                <a:rPr lang="en-US" altLang="en-US" sz="1200" b="1" dirty="0">
                  <a:solidFill>
                    <a:schemeClr val="accent3"/>
                  </a:solidFill>
                </a:rPr>
                <a:t>13 </a:t>
              </a:r>
              <a:r>
                <a:rPr lang="en-US" altLang="en-US" sz="1200" b="1" dirty="0" err="1">
                  <a:solidFill>
                    <a:schemeClr val="accent3"/>
                  </a:solidFill>
                </a:rPr>
                <a:t>bn</a:t>
              </a:r>
              <a:r>
                <a:rPr lang="en-US" altLang="en-US" sz="1200" b="1" dirty="0">
                  <a:solidFill>
                    <a:schemeClr val="accent3"/>
                  </a:solidFill>
                </a:rPr>
                <a:t> Local currency </a:t>
              </a:r>
              <a:r>
                <a:rPr lang="en-US" altLang="en-US" sz="1200" dirty="0"/>
                <a:t>and </a:t>
              </a:r>
              <a:r>
                <a:rPr lang="en-US" altLang="en-US" sz="1200" b="1" dirty="0">
                  <a:solidFill>
                    <a:schemeClr val="accent3"/>
                  </a:solidFill>
                </a:rPr>
                <a:t>&gt;100 Mn Local currency</a:t>
              </a:r>
              <a:r>
                <a:rPr lang="en-US" altLang="en-US" sz="1200" dirty="0"/>
                <a:t> in total revenues</a:t>
              </a:r>
            </a:p>
            <a:p>
              <a:pPr lvl="1" eaLnBrk="0" hangingPunct="0">
                <a:spcAft>
                  <a:spcPct val="300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en-US" altLang="en-US" sz="1200" dirty="0"/>
                <a:t>Part of global Private Bank, which recently launched a </a:t>
              </a:r>
              <a:r>
                <a:rPr lang="en-US" altLang="en-US" sz="1200" b="1" dirty="0">
                  <a:solidFill>
                    <a:schemeClr val="accent3"/>
                  </a:solidFill>
                </a:rPr>
                <a:t>comprehensive commercial transformation effort</a:t>
              </a:r>
            </a:p>
            <a:p>
              <a:pPr lvl="2" eaLnBrk="0" hangingPunct="0">
                <a:spcAft>
                  <a:spcPct val="30000"/>
                </a:spcAft>
                <a:buClr>
                  <a:schemeClr val="tx2"/>
                </a:buClr>
                <a:buFont typeface="Arial" panose="020B0604020202020204" pitchFamily="34" charset="0"/>
                <a:buChar char="─"/>
              </a:pPr>
              <a:r>
                <a:rPr lang="en-US" altLang="en-US" sz="1200" dirty="0"/>
                <a:t>Value proposition and unique selling proposition</a:t>
              </a:r>
            </a:p>
            <a:p>
              <a:pPr lvl="2" eaLnBrk="0" hangingPunct="0">
                <a:spcAft>
                  <a:spcPct val="30000"/>
                </a:spcAft>
                <a:buClr>
                  <a:schemeClr val="tx2"/>
                </a:buClr>
                <a:buFont typeface="Arial" panose="020B0604020202020204" pitchFamily="34" charset="0"/>
                <a:buChar char="─"/>
              </a:pPr>
              <a:r>
                <a:rPr lang="en-US" altLang="en-US" sz="1200" dirty="0"/>
                <a:t>Client segmentation</a:t>
              </a:r>
            </a:p>
            <a:p>
              <a:pPr lvl="2" eaLnBrk="0" hangingPunct="0">
                <a:spcAft>
                  <a:spcPct val="30000"/>
                </a:spcAft>
                <a:buClr>
                  <a:schemeClr val="tx2"/>
                </a:buClr>
                <a:buFont typeface="Arial" panose="020B0604020202020204" pitchFamily="34" charset="0"/>
                <a:buChar char="─"/>
              </a:pPr>
              <a:r>
                <a:rPr lang="en-US" altLang="en-US" sz="1200" dirty="0"/>
                <a:t>Product and service offering per segment</a:t>
              </a:r>
            </a:p>
          </p:txBody>
        </p:sp>
      </p:grpSp>
      <p:sp>
        <p:nvSpPr>
          <p:cNvPr id="24" name="Rectangle 13">
            <a:extLst>
              <a:ext uri="{FF2B5EF4-FFF2-40B4-BE49-F238E27FC236}">
                <a16:creationId xmlns:a16="http://schemas.microsoft.com/office/drawing/2014/main" id="{D3DEEE42-BE58-F849-BAAA-A79E500650ED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360" y="12804"/>
            <a:ext cx="3670008" cy="145663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nking and Securities (FIG) | Western Europe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5" name="Rectangle 13">
            <a:extLst>
              <a:ext uri="{FF2B5EF4-FFF2-40B4-BE49-F238E27FC236}">
                <a16:creationId xmlns:a16="http://schemas.microsoft.com/office/drawing/2014/main" id="{6318DBB8-A8A6-C644-96A0-5504FBF8A8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09345" y="-1944"/>
            <a:ext cx="667512" cy="132859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N017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4194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ACCENT" val="4"/>
  <p:tag name="LINE" val="2"/>
  <p:tag name="NEWNAMES" val="True"/>
  <p:tag name="MTBTACCENT" val="Accent3"/>
  <p:tag name="ISNEWSLIDENUMBER" val="True"/>
  <p:tag name="THINKCELLUNDODONOTDELETE" val="0"/>
  <p:tag name="PREVIOUSNAME" val="C:\Users\Najah Mushatt\Downloads\Single Page\Single Page\BAN017_Pricing redesign at a Private bank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BD91DB6D-6D15-4C2C-B694-43200695CBC5}"/>
    </a:ext>
  </a:extLst>
</a:theme>
</file>

<file path=ppt/theme/theme3.xml><?xml version="1.0" encoding="utf-8"?>
<a:theme xmlns:a="http://schemas.openxmlformats.org/drawingml/2006/main" name="1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86</Words>
  <Application>Microsoft Macintosh PowerPoint</Application>
  <PresentationFormat>Custom</PresentationFormat>
  <Paragraphs>2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Firm Format - template_Blue</vt:lpstr>
      <vt:lpstr>Firm Format - template_Grey</vt:lpstr>
      <vt:lpstr>1_Firm Format - template_Blue</vt:lpstr>
      <vt:lpstr>Blank</vt:lpstr>
      <vt:lpstr>think-cell Slide</vt:lpstr>
      <vt:lpstr>Pricing redesign at a Private bank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6-10-10T19:31:43Z</dcterms:created>
  <dcterms:modified xsi:type="dcterms:W3CDTF">2019-03-18T12:53:12Z</dcterms:modified>
  <cp:category/>
  <cp:contentStatus/>
  <dc:language/>
  <cp:version/>
</cp:coreProperties>
</file>